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E25FC974-3A9C-4A37-8680-B00E18253B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CA995E58-71DD-42B0-BCBD-8122D06B59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A77E690D-145F-4BDA-AC69-1C8FF6609B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4</c:v>
                </c:pt>
                <c:pt idx="1">
                  <c:v>0.33</c:v>
                </c:pt>
                <c:pt idx="2">
                  <c:v>0.37</c:v>
                </c:pt>
                <c:pt idx="3">
                  <c:v>0.0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4%</c:v>
                  </c:pt>
                  <c:pt idx="1">
                    <c:v>33%</c:v>
                  </c:pt>
                  <c:pt idx="2">
                    <c:v>37%</c:v>
                  </c:pt>
                  <c:pt idx="3">
                    <c:v>6%</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4570A9A2-352E-4694-B3D8-BD91A57618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34396B6A-E329-4379-B350-0108869C7D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D6A1E2A6-2F67-4DC3-8828-10AB77E0EF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7</c:v>
                </c:pt>
                <c:pt idx="2">
                  <c:v>0.49</c:v>
                </c:pt>
                <c:pt idx="3">
                  <c:v>0.2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27%</c:v>
                  </c:pt>
                  <c:pt idx="2">
                    <c:v>49%</c:v>
                  </c:pt>
                  <c:pt idx="3">
                    <c:v>24%</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3</c:v>
                </c:pt>
                <c:pt idx="1">
                  <c:v>0.83</c:v>
                </c:pt>
                <c:pt idx="2">
                  <c:v>0.8</c:v>
                </c:pt>
                <c:pt idx="3">
                  <c:v>0.9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7D39572F-D0CB-49FB-9882-5A949A74C4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B161D9B0-5BAC-4FFB-8AE1-B020B62444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E10DF6D-9108-4900-9487-D9768C81E36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7</c:v>
                </c:pt>
                <c:pt idx="1">
                  <c:v>0.17</c:v>
                </c:pt>
                <c:pt idx="2">
                  <c:v>0.2</c:v>
                </c:pt>
                <c:pt idx="3">
                  <c:v>0.0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3%</c:v>
                  </c:pt>
                  <c:pt idx="1">
                    <c:v>83%</c:v>
                  </c:pt>
                  <c:pt idx="2">
                    <c:v>80%</c:v>
                  </c:pt>
                  <c:pt idx="3">
                    <c:v>9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84</c:v>
                </c:pt>
                <c:pt idx="3">
                  <c:v>0.84</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A74BE834-967A-4D90-9259-BEB0DEB397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803FB5A0-18A7-429D-B964-94DAA2A9E86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19EEB392-BAA2-4E2D-8F80-B0D12F58DD4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518B7FA9-6399-47BD-B0CD-3A4F5BF19A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16</c:v>
                </c:pt>
                <c:pt idx="3">
                  <c:v>0.16</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c:v>
                  </c:pt>
                  <c:pt idx="2">
                    <c:v>84%</c:v>
                  </c:pt>
                  <c:pt idx="3">
                    <c:v>84%</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6F289A33-C6A1-4995-80C0-89A4C87817D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7AB5CD81-C779-48B2-9B87-6D1E3405F3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406BC875-46BF-48CC-A726-D9BA9075ED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C8BB6E2B-4840-4452-8131-666AF16F4B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0%</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E087EDDB-76FB-4E63-84DE-DD3B5AC7E40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04353B9B-AB7D-40FB-A787-A663A1630A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3</c:v>
                </c:pt>
                <c:pt idx="1">
                  <c:v>0.86</c:v>
                </c:pt>
                <c:pt idx="2">
                  <c:v>0.8</c:v>
                </c:pt>
                <c:pt idx="3">
                  <c:v>0.86</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5BF6F7E7-1BAC-49A9-825F-3AFE58AC08B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E8E1808E-D0BD-41A7-B2FA-91EEA63C695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AF263DFB-F33D-4234-9259-F08A284A89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4C797402-68DD-43E5-B3D6-945B9B68F94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7</c:v>
                </c:pt>
                <c:pt idx="1">
                  <c:v>0.14000000000000001</c:v>
                </c:pt>
                <c:pt idx="2">
                  <c:v>0.2</c:v>
                </c:pt>
                <c:pt idx="3">
                  <c:v>0.14000000000000001</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86%</c:v>
                  </c:pt>
                  <c:pt idx="2">
                    <c:v>80%</c:v>
                  </c:pt>
                  <c:pt idx="3">
                    <c:v>86%</c:v>
                  </c:pt>
                  <c:pt idx="4">
                    <c:v>85%</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9</c:v>
                </c:pt>
                <c:pt idx="2">
                  <c:v>0.86</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16F75391-3D4C-4E32-B5C9-1DFD96156D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67E95F96-6DEA-4752-A1CC-7399EB43EB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43548817-384F-47A1-83EC-9F93BA95C98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1</c:v>
                </c:pt>
                <c:pt idx="2">
                  <c:v>0.14000000000000001</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79%</c:v>
                  </c:pt>
                  <c:pt idx="2">
                    <c:v>86%</c:v>
                  </c:pt>
                  <c:pt idx="3">
                    <c:v>88%</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3</c:v>
                </c:pt>
                <c:pt idx="1">
                  <c:v>0</c:v>
                </c:pt>
                <c:pt idx="2">
                  <c:v>0.87</c:v>
                </c:pt>
                <c:pt idx="3">
                  <c:v>0.9</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862E447C-8DAE-4A5B-A46F-5CC2443EB3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0E245B4E-1637-4875-99EA-E6D5E296AA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29D631E5-07BC-4381-989F-A2DB395B77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5E2E5909-D6BE-4E45-B8DD-E0CB16BA4A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7</c:v>
                </c:pt>
                <c:pt idx="1">
                  <c:v>0</c:v>
                </c:pt>
                <c:pt idx="2">
                  <c:v>0.13</c:v>
                </c:pt>
                <c:pt idx="3">
                  <c:v>0.1</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c:v>
                  </c:pt>
                  <c:pt idx="2">
                    <c:v>87%</c:v>
                  </c:pt>
                  <c:pt idx="3">
                    <c:v>90%</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9</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1C51A405-7552-4EA5-87E1-5463C2FD119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CC9CDC17-EFA7-4390-92C3-067D49620A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71FA805F-F6FC-49EF-B589-D0AD3A3984E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40A55B6C-379D-49DC-9B04-D96D384D61A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1</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88%</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35AA6F5-0410-4DBA-BBF2-7A84E9FB769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FBA0A1BA-C9AB-4990-9789-E4D814FABDC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1</c:v>
                </c:pt>
                <c:pt idx="2">
                  <c:v>2</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4</c:v>
                </c:pt>
                <c:pt idx="1">
                  <c:v>15</c:v>
                </c:pt>
                <c:pt idx="2">
                  <c:v>1</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02053018-F6E1-417B-A8A1-A7A28F61F5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4D77AE4A-A908-45A1-B21C-8E64F243FD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B417C944-34D2-49FD-B618-1B8A7EE04E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r>
                      <a:rPr lang="en-GB"/>
                      <a:t>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15E-48E7-9278-D03DDCBD9794}"/>
                </c:ext>
              </c:extLst>
            </c:dLbl>
            <c:dLbl>
              <c:idx val="6"/>
              <c:tx>
                <c:rich>
                  <a:bodyPr/>
                  <a:lstStyle/>
                  <a:p>
                    <a:fld id="{4606C5AE-6A87-4E67-BA3F-75C892DE04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7</c:v>
                </c:pt>
                <c:pt idx="2">
                  <c:v>6</c:v>
                </c:pt>
                <c:pt idx="3">
                  <c:v>2</c:v>
                </c:pt>
                <c:pt idx="4">
                  <c:v>2</c:v>
                </c:pt>
                <c:pt idx="5">
                  <c:v>5</c:v>
                </c:pt>
                <c:pt idx="6">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0%</c:v>
                  </c:pt>
                  <c:pt idx="1">
                    <c:v>7%</c:v>
                  </c:pt>
                  <c:pt idx="2">
                    <c:v>6%p</c:v>
                  </c:pt>
                  <c:pt idx="3">
                    <c:v>2%</c:v>
                  </c:pt>
                  <c:pt idx="4">
                    <c:v>2%</c:v>
                  </c:pt>
                  <c:pt idx="5">
                    <c:v>5%p</c:v>
                  </c:pt>
                  <c:pt idx="6">
                    <c:v>39%</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7A554A04-25BF-4AF0-9649-19F6E2DA34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145E394D-4843-4B16-8BA4-BC8EBB9DB7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74780786-7899-43B1-9660-0C11519820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FEFA0B09-6575-491D-B0BE-81F4031B2E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A97454C9-1AA7-40EE-BB2D-3242FF67C5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10</c:v>
                </c:pt>
                <c:pt idx="2">
                  <c:v>6</c:v>
                </c:pt>
                <c:pt idx="3">
                  <c:v>2</c:v>
                </c:pt>
                <c:pt idx="4">
                  <c:v>14</c:v>
                </c:pt>
                <c:pt idx="5">
                  <c:v>5</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7%</c:v>
                  </c:pt>
                  <c:pt idx="1">
                    <c:v>10%</c:v>
                  </c:pt>
                  <c:pt idx="2">
                    <c:v>6%p</c:v>
                  </c:pt>
                  <c:pt idx="3">
                    <c:v>2%</c:v>
                  </c:pt>
                  <c:pt idx="4">
                    <c:v>14%</c:v>
                  </c:pt>
                  <c:pt idx="5">
                    <c:v>5%</c:v>
                  </c:pt>
                  <c:pt idx="6">
                    <c:v>37%</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F195453A-4CC8-4F38-B863-B44413498F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D7225C88-511A-4314-A069-586D0D5AF2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8EFFBD14-5191-4DB6-A9C8-68D62F7071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9055DB08-A940-4B40-BED4-609962E97A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D62155A1-70E6-43FA-B643-EBB81E2551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12373689-6F2A-4449-8AA5-3E44F64152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F0714D0E-0BF9-4D5D-8723-2131C46663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84618F8D-DE89-450E-A1C0-2E305A526A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D8F90F73-C015-4276-BEF3-031CAA4E71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A6A5CCA7-C50C-40CD-AB7E-2E5DB415B4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2</c:v>
                </c:pt>
                <c:pt idx="1">
                  <c:v>0.47</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2%</c:v>
                  </c:pt>
                  <c:pt idx="1">
                    <c:v>47%</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C6E93C60-3047-45EB-BB90-ABF5D0E76E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6ACB260D-6F75-48CB-91A3-8F7791DAD7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8F2ECE1F-36B4-436B-9502-D2CEDC408E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ED628416-9A92-40D6-A07E-FC7EE05033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500000000000000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5%</c:v>
                  </c:pt>
                  <c:pt idx="1">
                    <c:v>45%</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5446822E-D290-4292-97D8-CEDDDE7063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D9AB832A-EE61-4C70-9382-84F75FDBBE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6</c:v>
                </c:pt>
                <c:pt idx="1">
                  <c:v>7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6%</c:v>
                  </c:pt>
                  <c:pt idx="1">
                    <c:v>74%</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8CF219CA-E898-4144-A03A-BA354D9DC4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49CAE35-6347-4B45-8D30-DFA6EFD3FB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64F86602-C0F8-435B-8D74-19EF821835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C862FF6C-CC13-43A0-BE88-28A9D77EE7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CE83E1FA-C513-43BF-B113-798EDADA64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451E10B0-488A-4E48-A8B1-44B8B95CCB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1DB779F5-6050-4A21-AEEF-64C1BA4F62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54772805-2C13-4A43-AEC7-6811D773CB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B31F728A-FD93-467D-BA13-C358C7EDC6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44C7106D-79CD-4A52-A365-B68D756F15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BBD1E678-0BCA-4707-8A2D-65A81EF621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91</c:v>
                </c:pt>
                <c:pt idx="2">
                  <c:v>81</c:v>
                </c:pt>
                <c:pt idx="3">
                  <c:v>71</c:v>
                </c:pt>
                <c:pt idx="4">
                  <c:v>92</c:v>
                </c:pt>
                <c:pt idx="5">
                  <c:v>32</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9%</c:v>
                  </c:pt>
                  <c:pt idx="1">
                    <c:v>91%</c:v>
                  </c:pt>
                  <c:pt idx="2">
                    <c:v>81%</c:v>
                  </c:pt>
                  <c:pt idx="3">
                    <c:v>71%</c:v>
                  </c:pt>
                  <c:pt idx="4">
                    <c:v>92%</c:v>
                  </c:pt>
                  <c:pt idx="5">
                    <c:v>32%</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4B91589F-722A-4FC2-A71E-ACF52FDD21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r>
                      <a:rPr lang="en-GB"/>
                      <a:t>9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E36-4621-A2A8-3ADDA83CA04C}"/>
                </c:ext>
              </c:extLst>
            </c:dLbl>
            <c:dLbl>
              <c:idx val="2"/>
              <c:tx>
                <c:rich>
                  <a:bodyPr/>
                  <a:lstStyle/>
                  <a:p>
                    <a:r>
                      <a:rPr lang="en-GB"/>
                      <a:t>7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526D83BA-D1E4-46F0-9F01-58EC306583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398C527C-E649-4840-BDA6-078239C053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5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A3461923-DA94-4EE2-BD13-69457FA6D7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3</c:v>
                </c:pt>
                <c:pt idx="2">
                  <c:v>77</c:v>
                </c:pt>
                <c:pt idx="3">
                  <c:v>73</c:v>
                </c:pt>
                <c:pt idx="4">
                  <c:v>88</c:v>
                </c:pt>
                <c:pt idx="5">
                  <c:v>50</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5%</c:v>
                  </c:pt>
                  <c:pt idx="1">
                    <c:v>93%p</c:v>
                  </c:pt>
                  <c:pt idx="2">
                    <c:v>77%p</c:v>
                  </c:pt>
                  <c:pt idx="3">
                    <c:v>73%</c:v>
                  </c:pt>
                  <c:pt idx="4">
                    <c:v>88%</c:v>
                  </c:pt>
                  <c:pt idx="5">
                    <c:v>50%p</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0</c:v>
                </c:pt>
                <c:pt idx="1">
                  <c:v>29</c:v>
                </c:pt>
                <c:pt idx="2">
                  <c:v>14</c:v>
                </c:pt>
                <c:pt idx="3">
                  <c:v>5</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4</c:v>
                </c:pt>
                <c:pt idx="1">
                  <c:v>35</c:v>
                </c:pt>
                <c:pt idx="2">
                  <c:v>12</c:v>
                </c:pt>
                <c:pt idx="3">
                  <c:v>6</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6B49F84E-B238-4174-A694-0F3A925F47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708325D1-EF1F-45FE-9B63-5B1B652C50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7</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7%</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12FFF9CD-C9DD-45B8-9B55-5FF32BE8AE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9801E52C-A6A8-4075-9882-FB259FC24D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10</c:v>
                </c:pt>
                <c:pt idx="1">
                  <c:v>29</c:v>
                </c:pt>
                <c:pt idx="2">
                  <c:v>6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47</c:v>
                </c:pt>
                <c:pt idx="2">
                  <c:v>4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7</c:v>
                </c:pt>
                <c:pt idx="2">
                  <c:v>28</c:v>
                </c:pt>
                <c:pt idx="3">
                  <c:v>16</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23</c:v>
                </c:pt>
                <c:pt idx="2">
                  <c:v>20</c:v>
                </c:pt>
                <c:pt idx="3">
                  <c:v>19</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1799999999999999</c:v>
                </c:pt>
                <c:pt idx="1">
                  <c:v>0.16500000000000001</c:v>
                </c:pt>
                <c:pt idx="2">
                  <c:v>0.184</c:v>
                </c:pt>
                <c:pt idx="3">
                  <c:v>0.255</c:v>
                </c:pt>
                <c:pt idx="4">
                  <c:v>0.277000000000000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59</c:v>
                </c:pt>
                <c:pt idx="1">
                  <c:v>0.224</c:v>
                </c:pt>
                <c:pt idx="2">
                  <c:v>0.19700000000000001</c:v>
                </c:pt>
                <c:pt idx="3">
                  <c:v>0.219</c:v>
                </c:pt>
                <c:pt idx="4">
                  <c:v>0.201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3</c:v>
                </c:pt>
                <c:pt idx="2">
                  <c:v>25</c:v>
                </c:pt>
                <c:pt idx="3">
                  <c:v>19</c:v>
                </c:pt>
                <c:pt idx="4">
                  <c:v>3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7</c:v>
                </c:pt>
                <c:pt idx="2">
                  <c:v>19</c:v>
                </c:pt>
                <c:pt idx="3">
                  <c:v>26</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3</c:v>
                </c:pt>
                <c:pt idx="2">
                  <c:v>26</c:v>
                </c:pt>
                <c:pt idx="3">
                  <c:v>15</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8</c:v>
                </c:pt>
                <c:pt idx="1">
                  <c:v>31</c:v>
                </c:pt>
                <c:pt idx="2">
                  <c:v>19</c:v>
                </c:pt>
                <c:pt idx="3">
                  <c:v>15</c:v>
                </c:pt>
                <c:pt idx="4">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F06EB7D3-B5D6-4528-9EE1-409422C45B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71CF8B5C-D92E-41F5-AE86-3FFA5A3D88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C05C2785-08F0-4267-A39C-3E6219C737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F721847D-4AC2-456A-A71B-98DA5BC7F8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5</c:v>
                </c:pt>
                <c:pt idx="1">
                  <c:v>0</c:v>
                </c:pt>
                <c:pt idx="2">
                  <c:v>0.1</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85%</c:v>
                  </c:pt>
                  <c:pt idx="1">
                    <c:v>-</c:v>
                  </c:pt>
                  <c:pt idx="2">
                    <c:v>10%</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0DA2C32-0C1C-4433-801D-FECBBAC2A0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03A6393D-2F72-40FA-BE9A-1AE6F1454D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E7D2A2A9-1FD9-42A0-B2D2-02736A6616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B30900F0-6F77-4768-905A-20B1DA37EA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59</c:v>
                </c:pt>
                <c:pt idx="1">
                  <c:v>0</c:v>
                </c:pt>
                <c:pt idx="2">
                  <c:v>0.27</c:v>
                </c:pt>
                <c:pt idx="3">
                  <c:v>0.09</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9%</c:v>
                  </c:pt>
                  <c:pt idx="1">
                    <c:v>-</c:v>
                  </c:pt>
                  <c:pt idx="2">
                    <c:v>27%</c:v>
                  </c:pt>
                  <c:pt idx="3">
                    <c:v>9%</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1</c:v>
                </c:pt>
                <c:pt idx="2">
                  <c:v>28</c:v>
                </c:pt>
                <c:pt idx="3">
                  <c:v>20</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13</c:v>
                </c:pt>
                <c:pt idx="2">
                  <c:v>28</c:v>
                </c:pt>
                <c:pt idx="3">
                  <c:v>18</c:v>
                </c:pt>
                <c:pt idx="4">
                  <c:v>2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1</c:v>
                </c:pt>
                <c:pt idx="1">
                  <c:v>31</c:v>
                </c:pt>
                <c:pt idx="2">
                  <c:v>36</c:v>
                </c:pt>
                <c:pt idx="3">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3</c:v>
                </c:pt>
                <c:pt idx="1">
                  <c:v>36</c:v>
                </c:pt>
                <c:pt idx="2">
                  <c:v>31</c:v>
                </c:pt>
                <c:pt idx="3">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1</c:v>
                </c:pt>
                <c:pt idx="1">
                  <c:v>40</c:v>
                </c:pt>
                <c:pt idx="2">
                  <c:v>14</c:v>
                </c:pt>
                <c:pt idx="3">
                  <c:v>3</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4</c:v>
                </c:pt>
                <c:pt idx="1">
                  <c:v>24</c:v>
                </c:pt>
                <c:pt idx="2">
                  <c:v>7</c:v>
                </c:pt>
                <c:pt idx="3">
                  <c:v>2</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48</c:v>
                </c:pt>
                <c:pt idx="2">
                  <c:v>16</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8</c:v>
                </c:pt>
                <c:pt idx="1">
                  <c:v>58</c:v>
                </c:pt>
                <c:pt idx="2">
                  <c:v>12</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6302FDFB-5440-4909-B68A-F0EB4D18CE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7AB4E254-9F96-48FC-ADAE-1A32D9E803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00CA9428-4C53-4D17-84A4-B6E9BA31F9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F8C8E218-4138-4B53-8379-67339B7CF0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7A9F3036-7A95-4B80-BC29-5AA9438250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22709824-C08C-4AC2-96FE-FDF1FE8926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7</c:v>
                </c:pt>
                <c:pt idx="1">
                  <c:v>3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7%</c:v>
                  </c:pt>
                  <c:pt idx="1">
                    <c:v>3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A4BBE086-F93F-4D6C-8840-F120311ED2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9%</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3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9</c:v>
                </c:pt>
                <c:pt idx="1">
                  <c:v>3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9%q</c:v>
                  </c:pt>
                  <c:pt idx="1">
                    <c:v>31%p</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AA2C64C6-D5D2-4F4D-92B2-ACE49B44CC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E28CC7E1-8C40-4F27-A543-6AAA4B4EF1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E044E706-958D-4F70-BE05-2E110D70BD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25A39DE4-3EAA-40E9-887B-2B95A91262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B43D9018-7569-4588-A0B4-FFB9ED8DA4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6425C818-B374-4B01-AFC3-D8F263F273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FF2E1DDD-9529-4461-8E11-C097E12622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5FB08F25-F2D1-4779-B182-0BFB935EE2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BAF428EF-F1ED-4E75-A75F-0C37ACAF2B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29D68AA1-9B9A-41F6-B095-5EB2206342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E90BC5C0-5878-4612-90F2-75B40D667B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7B714D13-EA59-4A09-AA81-EFC953AA42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DA9C485B-6631-4656-B5D5-B776BAA4E6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8D86FC97-195A-4C3D-84EA-9495852B1E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E5831ACC-4E95-4760-8CAA-BFEB3557B9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F7C924D-4214-472F-BBB2-D09C8C0458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9%</c:v>
                  </c:pt>
                  <c:pt idx="1">
                    <c:v>51%</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225F29FF-04E3-4B54-9147-56883E5CE0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F8C76901-868A-4CA2-8496-CA14484D8F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50708CAB-78B3-4C7C-8617-7136F2C48B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4E3CF0D8-2648-4D5F-A171-6F34A4391D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2</c:v>
                </c:pt>
                <c:pt idx="1">
                  <c:v>2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2%</c:v>
                  </c:pt>
                  <c:pt idx="1">
                    <c:v>28%</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4</c:v>
                </c:pt>
                <c:pt idx="1">
                  <c:v>35</c:v>
                </c:pt>
                <c:pt idx="2">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0</c:v>
                </c:pt>
                <c:pt idx="1">
                  <c:v>49</c:v>
                </c:pt>
                <c:pt idx="2">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0B587A7A-7BE5-4F6E-8AEF-C67425A5A0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A5FAD560-2631-488D-970F-7E19BB5B90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r>
                      <a:rPr lang="en-GB"/>
                      <a:t>3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519-4C1F-9643-9A55D10271AC}"/>
                </c:ext>
              </c:extLst>
            </c:dLbl>
            <c:dLbl>
              <c:idx val="4"/>
              <c:tx>
                <c:rich>
                  <a:bodyPr/>
                  <a:lstStyle/>
                  <a:p>
                    <a:fld id="{2563AE49-CE51-4ED8-9809-46EDDD7C4C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9740D028-0D51-470E-8208-3D0C5EB33D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8124FAC2-69A7-4BE3-9885-4A15ADA968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2</c:v>
                </c:pt>
                <c:pt idx="1">
                  <c:v>4</c:v>
                </c:pt>
                <c:pt idx="2">
                  <c:v>60</c:v>
                </c:pt>
                <c:pt idx="3">
                  <c:v>39</c:v>
                </c:pt>
                <c:pt idx="4">
                  <c:v>21</c:v>
                </c:pt>
                <c:pt idx="5">
                  <c:v>19</c:v>
                </c:pt>
                <c:pt idx="6">
                  <c:v>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2%</c:v>
                  </c:pt>
                  <c:pt idx="1">
                    <c:v>4%</c:v>
                  </c:pt>
                  <c:pt idx="2">
                    <c:v>60%</c:v>
                  </c:pt>
                  <c:pt idx="3">
                    <c:v>39%p</c:v>
                  </c:pt>
                  <c:pt idx="4">
                    <c:v>21%</c:v>
                  </c:pt>
                  <c:pt idx="5">
                    <c:v>19%</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B2F6B592-5286-4113-A706-FB6CB0EB7D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C9BA9F4C-34B9-43D1-A927-AABB9A1607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143887C3-3575-4C21-89B1-F38BE5426F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r>
                      <a:rPr lang="en-GB"/>
                      <a:t>1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121A-46C7-99A3-C7EC76CE57AC}"/>
                </c:ext>
              </c:extLst>
            </c:dLbl>
            <c:dLbl>
              <c:idx val="5"/>
              <c:tx>
                <c:rich>
                  <a:bodyPr/>
                  <a:lstStyle/>
                  <a:p>
                    <a:r>
                      <a:rPr lang="en-GB"/>
                      <a:t>2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21A-46C7-99A3-C7EC76CE57AC}"/>
                </c:ext>
              </c:extLst>
            </c:dLbl>
            <c:dLbl>
              <c:idx val="6"/>
              <c:tx>
                <c:rich>
                  <a:bodyPr/>
                  <a:lstStyle/>
                  <a:p>
                    <a:fld id="{6534E9C7-4671-4BD0-951B-8145D7D5E3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3</c:v>
                </c:pt>
                <c:pt idx="1">
                  <c:v>19</c:v>
                </c:pt>
                <c:pt idx="2">
                  <c:v>36</c:v>
                </c:pt>
                <c:pt idx="3">
                  <c:v>38</c:v>
                </c:pt>
                <c:pt idx="4">
                  <c:v>13</c:v>
                </c:pt>
                <c:pt idx="5">
                  <c:v>20</c:v>
                </c:pt>
                <c:pt idx="6">
                  <c:v>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3%</c:v>
                  </c:pt>
                  <c:pt idx="1">
                    <c:v>19%</c:v>
                  </c:pt>
                  <c:pt idx="2">
                    <c:v>36%</c:v>
                  </c:pt>
                  <c:pt idx="3">
                    <c:v>38%</c:v>
                  </c:pt>
                  <c:pt idx="4">
                    <c:v>13%p</c:v>
                  </c:pt>
                  <c:pt idx="5">
                    <c:v>20%p</c:v>
                  </c:pt>
                  <c:pt idx="6">
                    <c:v>9%</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6</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43</c:v>
                </c:pt>
                <c:pt idx="2">
                  <c:v>3</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5</c:v>
                </c:pt>
                <c:pt idx="1">
                  <c:v>0.78</c:v>
                </c:pt>
                <c:pt idx="2">
                  <c:v>0.69</c:v>
                </c:pt>
                <c:pt idx="3">
                  <c:v>0.88</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C430F14C-CD9E-4D5F-8CF6-9B36FF9A41A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FB7F049D-7D1C-417E-B009-59C29F29F1D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78CA7DA0-3D81-4535-AADC-F1B3E98AF9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481241AD-89E1-4E87-A40A-41EAF5112B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5</c:v>
                </c:pt>
                <c:pt idx="1">
                  <c:v>0.22</c:v>
                </c:pt>
                <c:pt idx="2">
                  <c:v>0.31</c:v>
                </c:pt>
                <c:pt idx="3">
                  <c:v>0.12</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5%</c:v>
                  </c:pt>
                  <c:pt idx="1">
                    <c:v>78%</c:v>
                  </c:pt>
                  <c:pt idx="2">
                    <c:v>69%</c:v>
                  </c:pt>
                  <c:pt idx="3">
                    <c:v>88%</c:v>
                  </c:pt>
                  <c:pt idx="4">
                    <c:v>85%</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EDFORDSHIRE, LUTON AND MILTON KEYNES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EDFORDSHIRE, LUTON AND MILTON KEYNES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EDFORDSHIRE, LUTON AND MILTON KEYNES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EDFORDSHIRE, LUTON AND MILTON KEYNES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EDFORDSHIRE, LUTON AND MILTON KEYNES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BEDFORDSHIRE, LUTON AND MILTON KEYNES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95972448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8706687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4031546122"/>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3177911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EDFORDSHIRE, LUTON AND MILTON KEYNES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9391174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50601519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4% of respondents who were marked as Type 1 in the sample selected ‘Type 1’, 15%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91% of respondents who were marked as Type 2 in the sample selected ‘Type 2’, 2% selected ‘Type 1’, 2%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69); Type 2, ICS (516)).</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418185816"/>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98135564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69097870"/>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1557279221"/>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69354063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11); Type 2, National (19,941), ICS (430))</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69835160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06957012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21); Type 2, National (22,278), ICS (480))</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9599168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69081813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289); Type 2, National (21,082), ICS (448))</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5229084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0164736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69); Type 2, National (24,180), ICS (517))</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545279750"/>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508258318"/>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94075847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399294420"/>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1668946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55); Type 2, National (22,482), ICS (471))</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70934044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5179191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42192270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96510350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42423235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53735463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84132092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1503643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420716559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55); Type 2, National (22,670), ICS (476))</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88183672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51178868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6983141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8533875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72699364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67481309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9303962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1889592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15844859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65); Type 2, National (24,076), ICS (510))</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15989540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52685798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42680434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8460739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83373058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09395408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81026216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45724788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69); Type 2, National (24,153), ICS (511))</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98582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19237292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41565668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6132373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2549519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7889103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21893016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91079519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31037897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68); Type 2, National (24,135), ICS (50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30583549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76591530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1003796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84285652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15393196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93516952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408858004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89759937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51211567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68); Type 2, National (24,084), ICS (51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1634649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00012908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70555781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8783611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54343472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77154851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1024904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00553347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7040008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68); Type 2, National (24,070), ICS (50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115527998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698263916"/>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1672127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75359094"/>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581134146"/>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46867154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831146250"/>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69698468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6322481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69); Type 2, National (24,260), ICS (51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4613221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40449316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59429560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87400764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2010357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424275340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19480846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20369213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5758108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69); Type 2, National (24,267), ICS (514))</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6368653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86628425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97400842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06141350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2136277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83759375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18621159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9937585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5188882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68); Type 2, National (24,196), ICS (51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295616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59975508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03191125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67); Type 2, National (24,019), ICS (51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73428464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46845828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67); Type 2, National (11,860), ICS (262))</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51541686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33807748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49); Type 2, National (21,228), ICS (465))</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06469140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97323803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50); Type 2, National (20,915), ICS (451))</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39198029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47301589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36); Type 2, National (20,086), ICS (43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52606801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42035261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44); Type 2, National (21,890), ICS (47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7060651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88394348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31); Type 2, National (18,585), ICS (408))</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2582830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13079774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92135443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2225793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24480805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23571891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52997379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41247321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56); Type 2, National (22,580), ICS (483))</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1287052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680104450"/>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518910857"/>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847312755"/>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50105191"/>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28768343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75); Type 2, National (12,350), ICS (291))</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45008626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105114607"/>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14034964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4066466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67178957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417911968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654714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3918765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45); Type 2, National (10,911), ICS (25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5223922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594064637"/>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574637605"/>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823584047"/>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67225738"/>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68056540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076454016"/>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5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0336583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50470142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75665980"/>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656622902"/>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18484127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03992812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7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BEDFORDSHIRE, LUTON AND MILTON KEYNES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40</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889</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8%</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7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19</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90</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50</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041465937"/>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920720092"/>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51929917"/>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74934979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26048588"/>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954760670"/>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744391994"/>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EDFORDSHIRE, LUTON AND MILTON KEYNES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84923954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blood pressure check as part of their last annual review
Having a foot check as part of their last annual review
Having a smoking status review as part of their last annual review
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22836298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420299316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4759734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19</TotalTime>
  <Words>5310</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vt:lpstr>
      <vt:lpstr>Roboto</vt:lpstr>
      <vt:lpstr>Wingdings 3</vt:lpstr>
      <vt:lpstr>Arial (Body)</vt:lpstr>
      <vt:lpstr>Segoe UI</vt:lpstr>
      <vt:lpstr>HelveticaNeueLT Std Lt Cn</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4</cp:revision>
  <cp:lastPrinted>2024-09-17T13:37:47Z</cp:lastPrinted>
  <dcterms:created xsi:type="dcterms:W3CDTF">2024-06-17T14:42:21Z</dcterms:created>
  <dcterms:modified xsi:type="dcterms:W3CDTF">2024-12-04T11:1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